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4611" r:id="rId1"/>
  </p:sldMasterIdLst>
  <p:notesMasterIdLst>
    <p:notesMasterId r:id="rId18"/>
  </p:notesMasterIdLst>
  <p:handoutMasterIdLst>
    <p:handoutMasterId r:id="rId19"/>
  </p:handoutMasterIdLst>
  <p:sldIdLst>
    <p:sldId id="281" r:id="rId2"/>
    <p:sldId id="258" r:id="rId3"/>
    <p:sldId id="259" r:id="rId4"/>
    <p:sldId id="260" r:id="rId5"/>
    <p:sldId id="288" r:id="rId6"/>
    <p:sldId id="289" r:id="rId7"/>
    <p:sldId id="290" r:id="rId8"/>
    <p:sldId id="291" r:id="rId9"/>
    <p:sldId id="263" r:id="rId10"/>
    <p:sldId id="265" r:id="rId11"/>
    <p:sldId id="285" r:id="rId12"/>
    <p:sldId id="287" r:id="rId13"/>
    <p:sldId id="266" r:id="rId14"/>
    <p:sldId id="282" r:id="rId15"/>
    <p:sldId id="261" r:id="rId16"/>
    <p:sldId id="262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>
            <p14:sldId id="281"/>
          </p14:sldIdLst>
        </p14:section>
        <p14:section name="Section 1" id="{2A7242DC-929E-4579-8F10-2B02EF80F144}">
          <p14:sldIdLst>
            <p14:sldId id="258"/>
            <p14:sldId id="259"/>
            <p14:sldId id="260"/>
            <p14:sldId id="288"/>
          </p14:sldIdLst>
        </p14:section>
        <p14:section name="Section 3" id="{FD1E6B44-63E4-4285-A079-29EC5D274920}">
          <p14:sldIdLst>
            <p14:sldId id="289"/>
            <p14:sldId id="290"/>
            <p14:sldId id="291"/>
            <p14:sldId id="263"/>
            <p14:sldId id="265"/>
            <p14:sldId id="285"/>
            <p14:sldId id="287"/>
          </p14:sldIdLst>
        </p14:section>
        <p14:section name="Section 4" id="{BD0AB789-343F-4F3E-AB6C-9DEB37B93BF8}">
          <p14:sldIdLst>
            <p14:sldId id="266"/>
          </p14:sldIdLst>
        </p14:section>
        <p14:section name="Section 5" id="{0BFC7D8E-3B14-43D9-B493-FEE6E58FE399}">
          <p14:sldIdLst>
            <p14:sldId id="282"/>
          </p14:sldIdLst>
        </p14:section>
        <p14:section name="Section 2" id="{166B4E13-456F-4DE7-8043-47B198AC9D32}">
          <p14:sldIdLst>
            <p14:sldId id="261"/>
            <p14:sldId id="26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F74"/>
    <a:srgbClr val="EBBADB"/>
    <a:srgbClr val="FDAF1F"/>
    <a:srgbClr val="C57C86"/>
    <a:srgbClr val="F08310"/>
    <a:srgbClr val="EB51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38" autoAdjust="0"/>
    <p:restoredTop sz="94660"/>
  </p:normalViewPr>
  <p:slideViewPr>
    <p:cSldViewPr snapToGrid="0" showGuides="1">
      <p:cViewPr>
        <p:scale>
          <a:sx n="50" d="100"/>
          <a:sy n="50" d="100"/>
        </p:scale>
        <p:origin x="2184" y="82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190451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700163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497407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910315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5850887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6352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54904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0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176703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044539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8254310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600260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09800" y="4464028"/>
            <a:ext cx="9144000" cy="1641490"/>
          </a:xfrm>
        </p:spPr>
        <p:txBody>
          <a:bodyPr wrap="none" anchor="t">
            <a:normAutofit/>
          </a:bodyPr>
          <a:lstStyle>
            <a:lvl1pPr algn="r">
              <a:defRPr sz="9600" b="0" spc="-300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09799" y="3694375"/>
            <a:ext cx="9144000" cy="754025"/>
          </a:xfrm>
        </p:spPr>
        <p:txBody>
          <a:bodyPr anchor="b">
            <a:normAutofit/>
          </a:bodyPr>
          <a:lstStyle>
            <a:lvl1pPr marL="0" indent="0" algn="r">
              <a:buNone/>
              <a:defRPr sz="32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0155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367160"/>
            <a:ext cx="10515600" cy="81935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39788" y="987425"/>
            <a:ext cx="10515600" cy="337973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5186516"/>
            <a:ext cx="10514012" cy="682472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916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353434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489399"/>
            <a:ext cx="10514012" cy="1501826"/>
          </a:xfrm>
        </p:spPr>
        <p:txBody>
          <a:bodyPr anchor="ctr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396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365125"/>
            <a:ext cx="9302752" cy="2992904"/>
          </a:xfrm>
        </p:spPr>
        <p:txBody>
          <a:bodyPr anchor="ctr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365557"/>
            <a:ext cx="875229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4501729"/>
            <a:ext cx="10512424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111044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38158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2326967"/>
            <a:ext cx="10515600" cy="2511835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850581"/>
            <a:ext cx="10514012" cy="1140644"/>
          </a:xfrm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04967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337282" y="188595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356798" y="257175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87994" y="1885950"/>
            <a:ext cx="2936241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77441" y="257175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29035" y="1885950"/>
            <a:ext cx="2932113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2400" b="0" dirty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29035" y="257175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8109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332085" y="4297503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2085" y="2256354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332085" y="4873765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997" y="4297503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68996" y="2256354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67644" y="4873764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04322" y="4297503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04321" y="2256354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04197" y="4873762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1259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3842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8766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7807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54532" y="4464028"/>
            <a:ext cx="9144000" cy="1641490"/>
          </a:xfrm>
        </p:spPr>
        <p:txBody>
          <a:bodyPr wrap="none" anchor="t">
            <a:normAutofit/>
          </a:bodyPr>
          <a:lstStyle>
            <a:lvl1pPr algn="l">
              <a:defRPr sz="9600" b="0" spc="-300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0">
                      <a:schemeClr val="bg1">
                        <a:lumMod val="47000"/>
                        <a:lumOff val="53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54532" y="3693674"/>
            <a:ext cx="9144000" cy="754025"/>
          </a:xfrm>
        </p:spPr>
        <p:txBody>
          <a:bodyPr anchor="b">
            <a:normAutofit/>
          </a:bodyPr>
          <a:lstStyle>
            <a:lvl1pPr marL="0" indent="0" algn="l">
              <a:buNone/>
              <a:defRPr sz="32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4079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20000" y="1825625"/>
            <a:ext cx="5025216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9840" y="1825625"/>
            <a:ext cx="503396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0733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000" y="1681163"/>
            <a:ext cx="5025216" cy="823912"/>
          </a:xfrm>
        </p:spPr>
        <p:txBody>
          <a:bodyPr anchor="b"/>
          <a:lstStyle>
            <a:lvl1pPr marL="0" indent="0">
              <a:buNone/>
              <a:defRPr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0000" y="2505075"/>
            <a:ext cx="502521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19840" y="1681163"/>
            <a:ext cx="5035548" cy="823912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9840" y="2505075"/>
            <a:ext cx="503554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147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4644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B6BCE5-2DD4-475E-A37A-5EE65B04C653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75521-559C-4DCD-92B8-3170932EE7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3486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000" y="2057400"/>
            <a:ext cx="3652025" cy="3811588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4846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000" y="2057400"/>
            <a:ext cx="3652025" cy="3811588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4134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000" y="1825625"/>
            <a:ext cx="10233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DBA997-E43B-D1B3-63AC-10063296A7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51" imgH="450" progId="TCLayout.ActiveDocument.1">
                  <p:embed/>
                </p:oleObj>
              </mc:Choice>
              <mc:Fallback>
                <p:oleObj name="think-cell Slide" r:id="rId22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9B85F3-989A-F90C-9A68-5D855DDB4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3E6AFB-740A-1BA2-C070-CE0CACB8A69E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0A57DF-BD50-462C-F8C1-972B1B876332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1728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  <p:sldLayoutId id="2147484616" r:id="rId5"/>
    <p:sldLayoutId id="2147484617" r:id="rId6"/>
    <p:sldLayoutId id="2147484618" r:id="rId7"/>
    <p:sldLayoutId id="2147484619" r:id="rId8"/>
    <p:sldLayoutId id="2147484620" r:id="rId9"/>
    <p:sldLayoutId id="2147484621" r:id="rId10"/>
    <p:sldLayoutId id="2147484622" r:id="rId11"/>
    <p:sldLayoutId id="2147484623" r:id="rId12"/>
    <p:sldLayoutId id="2147484624" r:id="rId13"/>
    <p:sldLayoutId id="2147484625" r:id="rId14"/>
    <p:sldLayoutId id="2147484626" r:id="rId15"/>
    <p:sldLayoutId id="2147484627" r:id="rId16"/>
    <p:sldLayoutId id="2147484628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b="0" kern="1200">
          <a:gradFill flip="none" rotWithShape="1">
            <a:gsLst>
              <a:gs pos="28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  <a:tileRect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9.jp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jp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jp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4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4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5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jfi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.jp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jp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6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7.jp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B42406-1146-411C-988F-90739C5E3194}"/>
              </a:ext>
            </a:extLst>
          </p:cNvPr>
          <p:cNvSpPr txBox="1"/>
          <p:nvPr/>
        </p:nvSpPr>
        <p:spPr>
          <a:xfrm>
            <a:off x="1241954" y="668111"/>
            <a:ext cx="485404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/>
              <a:t>Presen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B660C1-6C1F-4C1D-9FB9-4FDCE3984E24}"/>
              </a:ext>
            </a:extLst>
          </p:cNvPr>
          <p:cNvSpPr txBox="1"/>
          <p:nvPr/>
        </p:nvSpPr>
        <p:spPr>
          <a:xfrm>
            <a:off x="671984" y="4374919"/>
            <a:ext cx="410752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lo-LA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ນາງ ຄຳບາງ ທອງມີໄຊ</a:t>
            </a:r>
            <a:endParaRPr lang="en-US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514350" indent="-514350">
              <a:buFont typeface="+mj-lt"/>
              <a:buAutoNum type="arabicPeriod"/>
            </a:pPr>
            <a:r>
              <a:rPr lang="lo-LA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ນາງ ວະນິດາ ຈຳປາທອງ</a:t>
            </a:r>
            <a:r>
              <a:rPr lang="en-US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                                     </a:t>
            </a:r>
          </a:p>
          <a:p>
            <a:pPr marL="514350" indent="-514350">
              <a:buFont typeface="+mj-lt"/>
              <a:buAutoNum type="arabicPeriod"/>
            </a:pPr>
            <a:r>
              <a:rPr lang="lo-LA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ນາງ ເສົາວະດີ ພົມມະວົງ</a:t>
            </a:r>
            <a:endParaRPr lang="en-US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514350" indent="-514350">
              <a:buFont typeface="+mj-lt"/>
              <a:buAutoNum type="arabicPeriod"/>
            </a:pPr>
            <a:r>
              <a:rPr lang="lo-LA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້າວ ວິພະຈັນ ພອນສຳເລັດ</a:t>
            </a:r>
            <a:endParaRPr lang="en-US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514350" indent="-514350">
              <a:buFont typeface="+mj-lt"/>
              <a:buAutoNum type="arabicPeriod"/>
            </a:pPr>
            <a:r>
              <a:rPr lang="lo-LA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ທ້າວ ໄພທອງ ປັນຍາໄຊ</a:t>
            </a:r>
            <a:endParaRPr lang="en-US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514350" indent="-514350">
              <a:buFont typeface="+mj-lt"/>
              <a:buAutoNum type="arabicPeriod"/>
            </a:pPr>
            <a:r>
              <a:rPr lang="lo-LA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ນາງ ນິພາພອນ ແກ້ວດວງສີ</a:t>
            </a:r>
            <a:endParaRPr lang="en-US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endParaRPr lang="en-US" sz="2000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8E1C3F3-C63A-433E-93C4-7CFBD1A506BA}"/>
              </a:ext>
            </a:extLst>
          </p:cNvPr>
          <p:cNvSpPr txBox="1">
            <a:spLocks/>
          </p:cNvSpPr>
          <p:nvPr/>
        </p:nvSpPr>
        <p:spPr>
          <a:xfrm>
            <a:off x="671984" y="2924511"/>
            <a:ext cx="5257800" cy="45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>
              <a:spcBef>
                <a:spcPct val="20000"/>
              </a:spcBef>
              <a:defRPr/>
            </a:pPr>
            <a:r>
              <a:rPr lang="lo-LA" sz="2800" dirty="0">
                <a:latin typeface="Phetsarath OT" pitchFamily="2" charset="0"/>
                <a:cs typeface="Phetsarath OT" pitchFamily="2" charset="0"/>
              </a:rPr>
              <a:t>ຫົວຂໍ້: ບໍລິສັດ </a:t>
            </a:r>
            <a:r>
              <a:rPr lang="en-US" sz="2800" dirty="0">
                <a:latin typeface="Phetsarath OT" pitchFamily="2" charset="0"/>
                <a:cs typeface="Phetsarath OT" pitchFamily="2" charset="0"/>
              </a:rPr>
              <a:t>BMW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552B1D89-94A7-4DDE-A82F-069A1ACE5E0C}"/>
              </a:ext>
            </a:extLst>
          </p:cNvPr>
          <p:cNvSpPr txBox="1">
            <a:spLocks/>
          </p:cNvSpPr>
          <p:nvPr/>
        </p:nvSpPr>
        <p:spPr>
          <a:xfrm>
            <a:off x="642248" y="2412848"/>
            <a:ext cx="5181599" cy="45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lo-LA" dirty="0">
                <a:latin typeface="Phetsarath OT" pitchFamily="2" charset="0"/>
                <a:cs typeface="Phetsarath OT" pitchFamily="2" charset="0"/>
              </a:rPr>
              <a:t>ສອນໂດຍ: ອາຈານ ແກ້ວລັດດາ ຫຼຽນປະເສີດ.</a:t>
            </a:r>
            <a:endParaRPr kumimoji="0" lang="en-US" i="0" u="none" strike="noStrike" kern="1200" normalizeH="0" baseline="0" noProof="0" dirty="0">
              <a:uLnTx/>
              <a:uFillTx/>
              <a:latin typeface="Phetsarath OT" pitchFamily="2" charset="0"/>
              <a:cs typeface="Phetsarath OT" pitchFamily="2" charset="0"/>
            </a:endParaRPr>
          </a:p>
        </p:txBody>
      </p:sp>
      <p:sp>
        <p:nvSpPr>
          <p:cNvPr id="19" name="Subtitle 10">
            <a:extLst>
              <a:ext uri="{FF2B5EF4-FFF2-40B4-BE49-F238E27FC236}">
                <a16:creationId xmlns:a16="http://schemas.microsoft.com/office/drawing/2014/main" id="{A95C5D19-B5B5-401D-A51A-08F30962E07D}"/>
              </a:ext>
            </a:extLst>
          </p:cNvPr>
          <p:cNvSpPr txBox="1">
            <a:spLocks/>
          </p:cNvSpPr>
          <p:nvPr/>
        </p:nvSpPr>
        <p:spPr>
          <a:xfrm>
            <a:off x="642249" y="1843376"/>
            <a:ext cx="5181600" cy="381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lo-LA" sz="2400" dirty="0">
                <a:latin typeface="Phetsarath OT" pitchFamily="2" charset="0"/>
                <a:cs typeface="Phetsarath OT" pitchFamily="2" charset="0"/>
              </a:rPr>
              <a:t>ບົດລາຍງານ ວິຊາ: 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Principles of Marketing</a:t>
            </a:r>
            <a:r>
              <a:rPr lang="lo-LA" sz="2000" dirty="0">
                <a:latin typeface="Times New Roman" pitchFamily="18" charset="0"/>
                <a:cs typeface="Times New Roman" pitchFamily="18" charset="0"/>
              </a:rPr>
              <a:t>.</a:t>
            </a:r>
            <a:endParaRPr lang="en-US" sz="2000" dirty="0">
              <a:latin typeface="Phetsarath OT" pitchFamily="2" charset="0"/>
              <a:cs typeface="Phetsarath OT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54E898C-90C8-4386-B407-C4C0307401E4}"/>
              </a:ext>
            </a:extLst>
          </p:cNvPr>
          <p:cNvSpPr txBox="1"/>
          <p:nvPr/>
        </p:nvSpPr>
        <p:spPr>
          <a:xfrm>
            <a:off x="248110" y="3649120"/>
            <a:ext cx="17195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o-LA" sz="2400" dirty="0">
                <a:latin typeface="Phetsarath OT" pitchFamily="2" charset="0"/>
                <a:cs typeface="Phetsarath OT" pitchFamily="2" charset="0"/>
              </a:rPr>
              <a:t>ກຸ່ມ</a:t>
            </a:r>
            <a:r>
              <a:rPr lang="en-US" sz="2400" dirty="0">
                <a:latin typeface="Phetsarath OT" pitchFamily="2" charset="0"/>
                <a:cs typeface="Phetsarath OT" pitchFamily="2" charset="0"/>
              </a:rPr>
              <a:t> 1</a:t>
            </a:r>
            <a:r>
              <a:rPr lang="lo-LA" sz="2400" dirty="0">
                <a:latin typeface="Phetsarath OT" pitchFamily="2" charset="0"/>
                <a:cs typeface="Phetsarath OT" pitchFamily="2" charset="0"/>
              </a:rPr>
              <a:t> </a:t>
            </a:r>
            <a:r>
              <a:rPr lang="en-US" sz="2400" dirty="0">
                <a:latin typeface="Times New Roman" pitchFamily="18" charset="0"/>
                <a:cs typeface="Phetsarath OT" pitchFamily="2" charset="0"/>
              </a:rPr>
              <a:t> 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619B32E-2D45-4201-9F4E-F711EB2EDF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4871" y="1443659"/>
            <a:ext cx="4333756" cy="43337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91233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">
            <a:extLst>
              <a:ext uri="{FF2B5EF4-FFF2-40B4-BE49-F238E27FC236}">
                <a16:creationId xmlns:a16="http://schemas.microsoft.com/office/drawing/2014/main" id="{049327D6-C978-4CAA-BB54-B4B481904724}"/>
              </a:ext>
            </a:extLst>
          </p:cNvPr>
          <p:cNvGrpSpPr/>
          <p:nvPr/>
        </p:nvGrpSpPr>
        <p:grpSpPr>
          <a:xfrm rot="5400000">
            <a:off x="4976976" y="-346920"/>
            <a:ext cx="6868104" cy="7561943"/>
            <a:chOff x="0" y="0"/>
            <a:chExt cx="7292791" cy="7468781"/>
          </a:xfrm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0A980911-C06B-426E-BA2D-0E9D2C72769A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280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079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0158"/>
          <a:stretch/>
        </p:blipFill>
        <p:spPr>
          <a:xfrm>
            <a:off x="508872" y="491366"/>
            <a:ext cx="4531902" cy="2808359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A6C80493-CC48-49B0-810A-422E497551EF}"/>
              </a:ext>
            </a:extLst>
          </p:cNvPr>
          <p:cNvSpPr/>
          <p:nvPr/>
        </p:nvSpPr>
        <p:spPr>
          <a:xfrm>
            <a:off x="5421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E189943-D6D4-4194-968A-9E17EAA2EEEA}"/>
              </a:ext>
            </a:extLst>
          </p:cNvPr>
          <p:cNvSpPr txBox="1"/>
          <p:nvPr/>
        </p:nvSpPr>
        <p:spPr>
          <a:xfrm>
            <a:off x="5505623" y="1187289"/>
            <a:ext cx="3191579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3) ຊັບພະຍາກອນມະນຸ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F34E3B-2A15-4BDE-8572-D12ACF1EEDB8}"/>
              </a:ext>
            </a:extLst>
          </p:cNvPr>
          <p:cNvSpPr txBox="1"/>
          <p:nvPr/>
        </p:nvSpPr>
        <p:spPr>
          <a:xfrm>
            <a:off x="5505623" y="1825322"/>
            <a:ext cx="5887267" cy="9233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ການຄັດເລືອກພະນັກງານທີ່ມີຄຸນນະພາບ ແລະ ມີການວາງແຜນວຽກຕາມໜ້າທີ່ຂອງແຕ່ລະຄົນ ເພື່ອໃຫ້ວຽກດຳເນີນໄປເປັນລະບົບລະບຽບ ແລະ ມີປະສິດທິພາບສູງ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26FE05-01A8-47FE-9AF2-F9B52B38272A}"/>
              </a:ext>
            </a:extLst>
          </p:cNvPr>
          <p:cNvSpPr/>
          <p:nvPr/>
        </p:nvSpPr>
        <p:spPr>
          <a:xfrm>
            <a:off x="5478557" y="3299725"/>
            <a:ext cx="12987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thaiDist"/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4) ທີ່ຕັ້ງ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2C7256-60FB-4210-A976-57E4E84A14AA}"/>
              </a:ext>
            </a:extLst>
          </p:cNvPr>
          <p:cNvSpPr/>
          <p:nvPr/>
        </p:nvSpPr>
        <p:spPr>
          <a:xfrm>
            <a:off x="5447756" y="3885054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ສຳນັກງານໃຫຍ່ຕັ້ງຢູ່ໃນເມືອງມິວນິກ ປະເທດເຢຍລະມັນ ແລະ ຍັງມີໂຮງງານຜະລິດ 31 ແຫ່ງ ເຊິ່ງມີສູນນຳເຂົ້າໃນປະເທດລາວແມ່ນ ບໍລິສັດ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Premium Auto Laos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ຕັ້ງຢູ່ບ້ານໜອງບອນ ,ເມືອງໄຊເສດຖາ,ນະຄອນຫຼວງວຽງຈັນ.ເຟສບຸກ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Laos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ໂທ 021 455 031ວ໋ອດແອັບ 020 5795 5555</a:t>
            </a:r>
            <a:endParaRPr lang="en-US" sz="2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CF20C3-95AA-46F4-9CC4-91D55EA3A4C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48244" y="3654677"/>
            <a:ext cx="4476626" cy="2737549"/>
          </a:xfrm>
          <a:prstGeom prst="ellipse">
            <a:avLst/>
          </a:prstGeom>
          <a:ln>
            <a:solidFill>
              <a:schemeClr val="bg2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224296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6190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6190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6190130"/>
            <a:ext cx="228600" cy="228600"/>
          </a:xfrm>
          <a:prstGeom prst="ellipse">
            <a:avLst/>
          </a:prstGeom>
          <a:solidFill>
            <a:srgbClr val="079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6190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6190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799110" y="419100"/>
            <a:ext cx="4189834" cy="270510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A6C80493-CC48-49B0-810A-422E497551EF}"/>
              </a:ext>
            </a:extLst>
          </p:cNvPr>
          <p:cNvSpPr/>
          <p:nvPr/>
        </p:nvSpPr>
        <p:spPr>
          <a:xfrm>
            <a:off x="5421214" y="65700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E189943-D6D4-4194-968A-9E17EAA2EEEA}"/>
              </a:ext>
            </a:extLst>
          </p:cNvPr>
          <p:cNvSpPr txBox="1"/>
          <p:nvPr/>
        </p:nvSpPr>
        <p:spPr>
          <a:xfrm>
            <a:off x="5429167" y="635604"/>
            <a:ext cx="6022483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5) ຄວາມສາມາດໃນການວິໄຈ ແລະ ພັດທະນາ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F34E3B-2A15-4BDE-8572-D12ACF1EEDB8}"/>
              </a:ext>
            </a:extLst>
          </p:cNvPr>
          <p:cNvSpPr txBox="1"/>
          <p:nvPr/>
        </p:nvSpPr>
        <p:spPr>
          <a:xfrm>
            <a:off x="5496774" y="1250556"/>
            <a:ext cx="5887267" cy="9233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  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ການວິໄຈພັດທະນານະວັດຕະກຳໃໝ່ໆທີ່ທັນສະໄໝເຂົ້າໃນການຜະລິດ ໃຫ້ມີຄຸນນະພາບສູງຂຶ້ນ , ມີຄວາມທັນສະໄໝສະດວກສະບາຍໃນການນຳໃຊ້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7A20449-7FEA-48B3-8F2B-3AB84DEEC4D0}"/>
              </a:ext>
            </a:extLst>
          </p:cNvPr>
          <p:cNvSpPr/>
          <p:nvPr/>
        </p:nvSpPr>
        <p:spPr>
          <a:xfrm>
            <a:off x="5388936" y="2419001"/>
            <a:ext cx="31790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6) ພາບພົດຂອງບໍລິສັ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B30BC50-7F50-49C0-B2CB-E9A22B05E2F2}"/>
              </a:ext>
            </a:extLst>
          </p:cNvPr>
          <p:cNvSpPr/>
          <p:nvPr/>
        </p:nvSpPr>
        <p:spPr>
          <a:xfrm>
            <a:off x="5054829" y="2972789"/>
            <a:ext cx="651099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• ບໍລິສັດຈຶ່ງໃຊ້ພະນັກງານທີ່ມີປະສົບການ ແລະ ມີຄວາມຊຳນິຊຳນານສູງ.  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• ນຳໃຊ້ວັດຖຸດິບທີ່ມີປະສິດທິພາບຜະລິດສິນຄ້າທີ່ໄດ້ມາດຕະຖານ ມີຄຸນນະພາບ.   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• ມີການບໍລິການທີ່ດີໃຫ້ຄວາມສຳຄັນກັບຄວາມພໍໃຈຂອງລູກຄ້າ ນຳໃຊ້ສື່ອອນລາຍເພື່ອໃຫ້ລູກຄ້າໄດ້ຮູ້ຈັກຫຼາຍຂຶ້ນ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•  ເອົາໃຈໃສ່ໃນເລື່ອງການບໍລິການລູກຄ້າໃຫ້ເທົ່າທຽມກັນ ໃຫ້ລູກຄ້າມີຄວາມປະທັບໃຈ , ບອກຕໍ່ ແລະ ກັບມາໃຊ້ບໍລິການອີກ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E7D7813-1AA9-436B-A4E5-1D66B97A08B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981053" y="3124199"/>
            <a:ext cx="3891833" cy="3589484"/>
          </a:xfrm>
          <a:prstGeom prst="ellipse">
            <a:avLst/>
          </a:prstGeom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07700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EBBADB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530256" y="1556621"/>
            <a:ext cx="4531902" cy="4531902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A6C80493-CC48-49B0-810A-422E497551EF}"/>
              </a:ext>
            </a:extLst>
          </p:cNvPr>
          <p:cNvSpPr/>
          <p:nvPr/>
        </p:nvSpPr>
        <p:spPr>
          <a:xfrm>
            <a:off x="5421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E189943-D6D4-4194-968A-9E17EAA2EEEA}"/>
              </a:ext>
            </a:extLst>
          </p:cNvPr>
          <p:cNvSpPr txBox="1"/>
          <p:nvPr/>
        </p:nvSpPr>
        <p:spPr>
          <a:xfrm>
            <a:off x="5505623" y="1187289"/>
            <a:ext cx="5616922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7) ລະບົບຂໍ້ມູນຂ່າວສານສຳລັບການຈັດການ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F34E3B-2A15-4BDE-8572-D12ACF1EEDB8}"/>
              </a:ext>
            </a:extLst>
          </p:cNvPr>
          <p:cNvSpPr txBox="1"/>
          <p:nvPr/>
        </p:nvSpPr>
        <p:spPr>
          <a:xfrm>
            <a:off x="5505623" y="1825322"/>
            <a:ext cx="5887267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	 ມີໜ່ວຍງານຄວບຄຸມຢ່າງໜາແໜ້ນບໍ່ໃຫ້ຂໍ້ມູນຂອງບໍລິສັດຮົ່ວໄຫຼອອກໄປພາຍນອກ.  ບໍລິສັດມີການເປີດນຳໃຊ້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Facebook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ລະ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nstagram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ພື່ອເປັນຊ່ອງທາງການໂປໂມດຜະລິດຕະພັນຂອງບໍລິສັດໃຫ້ຜູ້ຄົນໄດ້ເຂົ້າເຖິງຫຼາຍຂຶ້ນ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7419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765302" y="1183144"/>
            <a:ext cx="117179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rgbClr val="CB225B"/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ຸດແຂງ</a:t>
            </a:r>
            <a:endParaRPr lang="de-DE" altLang="de-DE" sz="2800" spc="300" dirty="0">
              <a:solidFill>
                <a:srgbClr val="CB225B"/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124393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ຸດອ່ອນ</a:t>
            </a:r>
            <a:endParaRPr lang="de-DE" altLang="de-DE" sz="2800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1173191" y="1916569"/>
            <a:ext cx="4922810" cy="369331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ນຶ່ງໃນຍີ່ຫໍ້ລົດຍົນທີ່ມີລາຄາຫຼາຍທີ່ສຸດໃນໂລກ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ຫຼ່ງລາຍຮັບທີ່ຫຼາກຫຼາຍທາງດ້ານພູມສັນຖານ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ຮ່ວມມືທີ່ສໍາເລັດຜົນໃນປະເທດຈີນ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ວິສະວະກໍາທີ່ສົມບູນແບບ ແລະ ມີປະສົບການຂັບລົດທີ່ດີເລີດ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ວາມສາມາດໃນລົດປະສົມ ແລະ ໄຟຟ້າ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ຍຸດທະສາດທີ່ຈະແຈ້ງເພື່ອຮັບມືກັບສິ່ງທ້າທາຍ ແລະ ທ່າອ່ຽງໃນອະນາຄົດ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endParaRPr lang="de-DE" altLang="de-DE" sz="2400" spc="3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83099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ັກຊັບຍີ່ຫໍ້ລົດຍົນທຸກຢ່າງທີ່ມີຄວາມແຕກຕ່າງຂອງຜະລິດຕະພັນເລັກນ້ອຍ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ະດັບໜີ້ສິນເພີ່ມຂຶ້ນ</a:t>
            </a:r>
            <a:endParaRPr lang="de-DE" altLang="de-DE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C778A0A-ECB8-404D-9A87-1A95FF8D3C93}"/>
              </a:ext>
            </a:extLst>
          </p:cNvPr>
          <p:cNvGrpSpPr/>
          <p:nvPr/>
        </p:nvGrpSpPr>
        <p:grpSpPr>
          <a:xfrm>
            <a:off x="563789" y="814358"/>
            <a:ext cx="1064986" cy="1004917"/>
            <a:chOff x="563789" y="814358"/>
            <a:chExt cx="1064986" cy="1004917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67191FB7-1694-4872-81F9-FE7754259935}"/>
                </a:ext>
              </a:extLst>
            </p:cNvPr>
            <p:cNvSpPr/>
            <p:nvPr/>
          </p:nvSpPr>
          <p:spPr>
            <a:xfrm>
              <a:off x="1173191" y="814358"/>
              <a:ext cx="455584" cy="455584"/>
            </a:xfrm>
            <a:prstGeom prst="ellipse">
              <a:avLst/>
            </a:prstGeom>
            <a:solidFill>
              <a:srgbClr val="8B173E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de-DE" altLang="de-DE" sz="1000" kern="0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02E0606A-BD57-43DB-957E-84A00723B4D6}"/>
                </a:ext>
              </a:extLst>
            </p:cNvPr>
            <p:cNvSpPr/>
            <p:nvPr/>
          </p:nvSpPr>
          <p:spPr>
            <a:xfrm>
              <a:off x="563789" y="917517"/>
              <a:ext cx="901757" cy="901757"/>
            </a:xfrm>
            <a:prstGeom prst="ellipse">
              <a:avLst/>
            </a:prstGeom>
            <a:solidFill>
              <a:srgbClr val="CB22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3074DAD-AF35-4290-BE97-98097F56DC1F}"/>
                </a:ext>
              </a:extLst>
            </p:cNvPr>
            <p:cNvSpPr/>
            <p:nvPr/>
          </p:nvSpPr>
          <p:spPr>
            <a:xfrm>
              <a:off x="707764" y="1158530"/>
              <a:ext cx="757254" cy="660745"/>
            </a:xfrm>
            <a:custGeom>
              <a:avLst/>
              <a:gdLst>
                <a:gd name="connsiteX0" fmla="*/ 647700 w 926320"/>
                <a:gd name="connsiteY0" fmla="*/ 0 h 808264"/>
                <a:gd name="connsiteX1" fmla="*/ 926320 w 926320"/>
                <a:gd name="connsiteY1" fmla="*/ 263141 h 808264"/>
                <a:gd name="connsiteX2" fmla="*/ 915762 w 926320"/>
                <a:gd name="connsiteY2" fmla="*/ 367876 h 808264"/>
                <a:gd name="connsiteX3" fmla="*/ 375424 w 926320"/>
                <a:gd name="connsiteY3" fmla="*/ 808264 h 808264"/>
                <a:gd name="connsiteX4" fmla="*/ 305962 w 926320"/>
                <a:gd name="connsiteY4" fmla="*/ 801262 h 808264"/>
                <a:gd name="connsiteX5" fmla="*/ 0 w 926320"/>
                <a:gd name="connsiteY5" fmla="*/ 495300 h 808264"/>
                <a:gd name="connsiteX6" fmla="*/ 88900 w 926320"/>
                <a:gd name="connsiteY6" fmla="*/ 76200 h 808264"/>
                <a:gd name="connsiteX7" fmla="*/ 368300 w 926320"/>
                <a:gd name="connsiteY7" fmla="*/ 101600 h 8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6320" h="808264">
                  <a:moveTo>
                    <a:pt x="647700" y="0"/>
                  </a:moveTo>
                  <a:lnTo>
                    <a:pt x="926320" y="263141"/>
                  </a:lnTo>
                  <a:lnTo>
                    <a:pt x="915762" y="367876"/>
                  </a:lnTo>
                  <a:cubicBezTo>
                    <a:pt x="864332" y="619205"/>
                    <a:pt x="641957" y="808264"/>
                    <a:pt x="375424" y="808264"/>
                  </a:cubicBezTo>
                  <a:lnTo>
                    <a:pt x="305962" y="801262"/>
                  </a:lnTo>
                  <a:lnTo>
                    <a:pt x="0" y="495300"/>
                  </a:lnTo>
                  <a:lnTo>
                    <a:pt x="88900" y="76200"/>
                  </a:lnTo>
                  <a:lnTo>
                    <a:pt x="368300" y="101600"/>
                  </a:lnTo>
                  <a:close/>
                </a:path>
              </a:pathLst>
            </a:custGeom>
            <a:gradFill>
              <a:gsLst>
                <a:gs pos="40000">
                  <a:srgbClr val="A11B48"/>
                </a:gs>
                <a:gs pos="100000">
                  <a:srgbClr val="CB225B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</p:grpSp>
      <p:pic>
        <p:nvPicPr>
          <p:cNvPr id="33" name="Graphic 32">
            <a:extLst>
              <a:ext uri="{FF2B5EF4-FFF2-40B4-BE49-F238E27FC236}">
                <a16:creationId xmlns:a16="http://schemas.microsoft.com/office/drawing/2014/main" id="{7868658D-F50E-41C9-AB27-6169A069188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94286" y="626725"/>
            <a:ext cx="1471016" cy="147101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F3D6E5A-CF89-4056-B116-DFCFF9E6D2D1}"/>
              </a:ext>
            </a:extLst>
          </p:cNvPr>
          <p:cNvSpPr txBox="1"/>
          <p:nvPr/>
        </p:nvSpPr>
        <p:spPr>
          <a:xfrm>
            <a:off x="1388422" y="267996"/>
            <a:ext cx="6361580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VI.	</a:t>
            </a: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ວິເຄາະ </a:t>
            </a:r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SWO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09908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765302" y="1183144"/>
            <a:ext cx="117179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rgbClr val="CB225B"/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ໂອກາດ</a:t>
            </a:r>
            <a:endParaRPr lang="de-DE" altLang="de-DE" sz="2800" spc="300" dirty="0">
              <a:solidFill>
                <a:srgbClr val="CB225B"/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1173191" y="814358"/>
            <a:ext cx="455584" cy="455584"/>
          </a:xfrm>
          <a:prstGeom prst="ellipse">
            <a:avLst/>
          </a:prstGeom>
          <a:solidFill>
            <a:srgbClr val="8B173E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1178208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ອຸປະສັກ</a:t>
            </a:r>
            <a:endParaRPr lang="de-DE" altLang="de-DE" sz="2800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1173191" y="1916569"/>
            <a:ext cx="4922810" cy="22159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າຄານໍ້າມັນຄາດວ່າຈະເພີ່ມຂຶ້ນໃນອະນາຄົດອັນໃກ້ນີ້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ວາມຕ້ອງການຍານພາຫະນະອັດຕະໂນມັດ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ຮັດໃຫ້ອັດຕາແລກປ່ຽນເງິນເອີໂຣອ່ອນລົງ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ລຍະເວລາ ແລະ ຄວາມຖີ່ຂອງການເປີດໂຕລົດລຸ້ນໃຫມ່ ຫືຼ ຮູບແບບໃໝ່</a:t>
            </a:r>
            <a:endParaRPr lang="de-DE" altLang="de-DE" sz="2400" spc="3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138499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ແຂ່ງຂັນທີ່ເພີ່ມຂຶ້ນໃນຕະຫຼາດລົດຍົນທົ່ວໂລກ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ເພີ່ມລະບຽບການຂອງລັດຖະບານອາດຈະເຮັດໃຫ້ຄ່າໃຊ້ຈ່າຍເພີ່ມຂຶ້ນ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ຕະຫຼາດລົດຍົນຂອງສະຫະລັດມີທ່າອ່ຽງທີ່ຈະຊ້າລົງຫຼືແມ້ກະທັ້ງຫຼຸດລົງ</a:t>
            </a:r>
            <a:endParaRPr lang="de-DE" altLang="de-DE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0CD9039-E5A9-4991-8CAB-26F0E00DD690}"/>
              </a:ext>
            </a:extLst>
          </p:cNvPr>
          <p:cNvGrpSpPr/>
          <p:nvPr/>
        </p:nvGrpSpPr>
        <p:grpSpPr>
          <a:xfrm>
            <a:off x="298714" y="654424"/>
            <a:ext cx="1416423" cy="1416423"/>
            <a:chOff x="298714" y="654424"/>
            <a:chExt cx="1416423" cy="1416423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02E0606A-BD57-43DB-957E-84A00723B4D6}"/>
                </a:ext>
              </a:extLst>
            </p:cNvPr>
            <p:cNvSpPr/>
            <p:nvPr/>
          </p:nvSpPr>
          <p:spPr>
            <a:xfrm>
              <a:off x="563789" y="917517"/>
              <a:ext cx="901757" cy="901757"/>
            </a:xfrm>
            <a:prstGeom prst="ellipse">
              <a:avLst/>
            </a:prstGeom>
            <a:solidFill>
              <a:srgbClr val="CB22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3074DAD-AF35-4290-BE97-98097F56DC1F}"/>
                </a:ext>
              </a:extLst>
            </p:cNvPr>
            <p:cNvSpPr/>
            <p:nvPr/>
          </p:nvSpPr>
          <p:spPr>
            <a:xfrm>
              <a:off x="707764" y="1158530"/>
              <a:ext cx="757254" cy="660745"/>
            </a:xfrm>
            <a:custGeom>
              <a:avLst/>
              <a:gdLst>
                <a:gd name="connsiteX0" fmla="*/ 647700 w 926320"/>
                <a:gd name="connsiteY0" fmla="*/ 0 h 808264"/>
                <a:gd name="connsiteX1" fmla="*/ 926320 w 926320"/>
                <a:gd name="connsiteY1" fmla="*/ 263141 h 808264"/>
                <a:gd name="connsiteX2" fmla="*/ 915762 w 926320"/>
                <a:gd name="connsiteY2" fmla="*/ 367876 h 808264"/>
                <a:gd name="connsiteX3" fmla="*/ 375424 w 926320"/>
                <a:gd name="connsiteY3" fmla="*/ 808264 h 808264"/>
                <a:gd name="connsiteX4" fmla="*/ 305962 w 926320"/>
                <a:gd name="connsiteY4" fmla="*/ 801262 h 808264"/>
                <a:gd name="connsiteX5" fmla="*/ 0 w 926320"/>
                <a:gd name="connsiteY5" fmla="*/ 495300 h 808264"/>
                <a:gd name="connsiteX6" fmla="*/ 88900 w 926320"/>
                <a:gd name="connsiteY6" fmla="*/ 76200 h 808264"/>
                <a:gd name="connsiteX7" fmla="*/ 368300 w 926320"/>
                <a:gd name="connsiteY7" fmla="*/ 101600 h 8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6320" h="808264">
                  <a:moveTo>
                    <a:pt x="647700" y="0"/>
                  </a:moveTo>
                  <a:lnTo>
                    <a:pt x="926320" y="263141"/>
                  </a:lnTo>
                  <a:lnTo>
                    <a:pt x="915762" y="367876"/>
                  </a:lnTo>
                  <a:cubicBezTo>
                    <a:pt x="864332" y="619205"/>
                    <a:pt x="641957" y="808264"/>
                    <a:pt x="375424" y="808264"/>
                  </a:cubicBezTo>
                  <a:lnTo>
                    <a:pt x="305962" y="801262"/>
                  </a:lnTo>
                  <a:lnTo>
                    <a:pt x="0" y="495300"/>
                  </a:lnTo>
                  <a:lnTo>
                    <a:pt x="88900" y="76200"/>
                  </a:lnTo>
                  <a:lnTo>
                    <a:pt x="368300" y="101600"/>
                  </a:lnTo>
                  <a:close/>
                </a:path>
              </a:pathLst>
            </a:custGeom>
            <a:gradFill>
              <a:gsLst>
                <a:gs pos="40000">
                  <a:srgbClr val="A11B48"/>
                </a:gs>
                <a:gs pos="100000">
                  <a:srgbClr val="CB225B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7868658D-F50E-41C9-AB27-6169A0691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298714" y="654424"/>
              <a:ext cx="1416423" cy="141642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9564389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784FDE5B-904F-4AE7-9B55-439FCD99B15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815" t="15906" r="44062" b="2208"/>
          <a:stretch/>
        </p:blipFill>
        <p:spPr>
          <a:xfrm>
            <a:off x="289560" y="0"/>
            <a:ext cx="3069771" cy="6844882"/>
          </a:xfrm>
          <a:prstGeom prst="rect">
            <a:avLst/>
          </a:prstGeom>
          <a:ln>
            <a:noFill/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E333B9B-78EA-4986-BE5A-9275A57EC23E}"/>
              </a:ext>
            </a:extLst>
          </p:cNvPr>
          <p:cNvSpPr txBox="1"/>
          <p:nvPr/>
        </p:nvSpPr>
        <p:spPr>
          <a:xfrm>
            <a:off x="3575956" y="1150257"/>
            <a:ext cx="431074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VII</a:t>
            </a:r>
            <a:r>
              <a:rPr lang="lo-LA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r>
              <a:rPr lang="de-DE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lo-LA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ຜນໃນອະນາຄົດ</a:t>
            </a:r>
            <a:endParaRPr lang="de-DE" altLang="de-DE" sz="36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D15406-39A4-4F50-BB35-2869B67D72B2}"/>
              </a:ext>
            </a:extLst>
          </p:cNvPr>
          <p:cNvSpPr txBox="1"/>
          <p:nvPr/>
        </p:nvSpPr>
        <p:spPr>
          <a:xfrm>
            <a:off x="3575956" y="2044005"/>
            <a:ext cx="7838804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ຖະແຫຼງການທີ່ເປີດເຜີຍໂດຍກຸ່ມບໍລິສັດ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ໄດ້ຢືນຢັນແຜນການຂອງຕົນສໍາລັບທັງຍີ່ຫໍ້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Mini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ລະ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Rolls Royce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ີ່ຈະຫັນເປັນລົດໄຟຟ້າຢ່າງສົມບູນໃນປີ 2030. ຜູ້ຜະລິດລົດໃຫຍ່ຍັງໄດ້ເວົ້າກ່ຽວກັບແຜນການຂອງ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AG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ີ່ຈະກ້າວໄປສູ່ອະນາຄົດ. 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ມີ​ແຜນ​ຈະ​ຂາຍ​ລົດ​ໄຟ​ຟ້າ​ໃຫ້​ຄົບ 10 ລ້ານ​ຄັນ​ໃນ​ທົ່ວ​ໂລກ​ພາຍ​ໃນ​ປີ 2030.</a:t>
            </a:r>
            <a:endParaRPr lang="de-DE" altLang="de-DE" sz="20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35748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059301" y="1002756"/>
            <a:ext cx="3169436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VIII</a:t>
            </a:r>
            <a:r>
              <a:rPr lang="lo-LA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	</a:t>
            </a:r>
            <a:r>
              <a:rPr lang="lo-LA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ະຫຼຸບ</a:t>
            </a:r>
            <a:r>
              <a:rPr lang="lo-LA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endParaRPr lang="de-DE" altLang="de-DE" sz="28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1059301" y="1991088"/>
            <a:ext cx="4419479" cy="338554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ຮູ້ທີ່ຈະປັບໂຕໃຫ້ເຂົ້າກັບການຕະຫລາດຂອງແຕ່ລະປະເທດເເລະມີກົນລະຍຸດທີ່ຊ່ວຍໃຫ້ປະສົບຄວາມສຳເລັດໄດ້ສ້າງແບຣນໃຫ້ມີສະມັດຖະພາບໃນການຂັບຂີ່ສູງ, ຮັກສາມາດຕະຖານຂອງສິນຄ້າຢູ່ສະໝ່ຳາສະເໝີ ການອອກເເບບກໍມີຄວາມໂດດເດັ່ນເເລະມີເອກະລັກ. ມີການກະຈາຍສິນຄ້າອອກໄປສູ່ປະເທດຕ່າງໆເພື່ອໃຫ້ລູກຄ້າສາມາດເຂົ້າເຖິງໄດ້ງ່າຍ. ນອກຈາກນັ້ນ, ຍັງມີຄວາມຕັ້ງໃຈທີ່ຈະປັບປຸງສິນຄ້າໃຫ້ດີຍິ່ງຂຶ້ນເເລະປັບໂຕໃຫ້ເຂົ້າກັບປັດຈຸບັນເພື່ອໃຫ້ເຂົ້າກັບຄວາມຕ້ອງການຂອງລູກຄ້າ,ສ້າງຄວາມປະທັບໃຈໃຫ້ກັບລູກຄ້າ</a:t>
            </a:r>
            <a:endParaRPr lang="de-DE" altLang="de-DE" sz="20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1" name="Footnote">
            <a:extLst>
              <a:ext uri="{FF2B5EF4-FFF2-40B4-BE49-F238E27FC236}">
                <a16:creationId xmlns:a16="http://schemas.microsoft.com/office/drawing/2014/main" id="{95510D65-09B5-4F73-9E19-9A5475732DDC}"/>
              </a:ext>
            </a:extLst>
          </p:cNvPr>
          <p:cNvSpPr/>
          <p:nvPr/>
        </p:nvSpPr>
        <p:spPr>
          <a:xfrm>
            <a:off x="7353421" y="412340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FFF8113-45C3-1BD3-19DF-003FDF349A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34871" y="1443659"/>
            <a:ext cx="4333756" cy="43337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7525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4400788" y="852266"/>
            <a:ext cx="5524168" cy="466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4508475" y="702130"/>
            <a:ext cx="6691086" cy="5649684"/>
          </a:xfrm>
          <a:prstGeom prst="rect">
            <a:avLst/>
          </a:prstGeom>
          <a:solidFill>
            <a:srgbClr val="0A5F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4753617" y="852266"/>
            <a:ext cx="5420703" cy="110799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857250" indent="-857250">
              <a:buFont typeface="+mj-lt"/>
              <a:buAutoNum type="romanUcPeriod"/>
            </a:pP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ຕະຫຼາດ ແລະ ການຕະຫຼາດ </a:t>
            </a:r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endParaRPr lang="de-DE" altLang="de-DE" sz="36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4753617" y="2779678"/>
            <a:ext cx="5623334" cy="923330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ການຈັດຈຳໜ່າຍຕາມສູນລົດທີ່ເປັນສາຂາຂອງບໍລິສັດ,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ການລົງໂຄສະນາຜ່ານສື່ອອນລາຍ ເວບໄຊ້ຕ່າງໆເພື່ອໃຫ້ລູກຄ້າ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າມາດສຶກສາຂໍ້ມູນກ່ອນຊື້ໄດ້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2B79ED-5414-44B7-8D36-9A729B86CBB8}"/>
              </a:ext>
            </a:extLst>
          </p:cNvPr>
          <p:cNvSpPr txBox="1"/>
          <p:nvPr/>
        </p:nvSpPr>
        <p:spPr>
          <a:xfrm>
            <a:off x="4753617" y="4596117"/>
            <a:ext cx="5451813" cy="923330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ໃຊ້ທຸກຊ່ອງທາງການຕະຫຼາດບໍ່ວ່າຈະເປັນຕາມສູນລົດ,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ື່ອອນລາຍ, ໂຄສະນາທາງໂທລະພາບ, ໜັງສືພິມ ການເຊີນຄົນ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ີ່ມີຊື່ສຽງມາຊ່ວຍໂຄສະນາ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B74FD1B-7B06-4342-8E4D-1428B24DC75B}"/>
              </a:ext>
            </a:extLst>
          </p:cNvPr>
          <p:cNvSpPr/>
          <p:nvPr/>
        </p:nvSpPr>
        <p:spPr>
          <a:xfrm>
            <a:off x="4668318" y="2107567"/>
            <a:ext cx="134684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. ຕະຫຼາດ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A34A89-ECBD-4AD4-BF76-21E2C18D6592}"/>
              </a:ext>
            </a:extLst>
          </p:cNvPr>
          <p:cNvSpPr/>
          <p:nvPr/>
        </p:nvSpPr>
        <p:spPr>
          <a:xfrm>
            <a:off x="4668318" y="3869765"/>
            <a:ext cx="184217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. ການຕະຫຼາດ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17980A0-D5B4-4CE1-8EDE-60BABD7E28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8240" y="2260047"/>
            <a:ext cx="4120314" cy="217162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766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3" grpId="0"/>
      <p:bldP spid="1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77A7E661-2E2D-4893-9016-D7442B0C9F62}"/>
              </a:ext>
            </a:extLst>
          </p:cNvPr>
          <p:cNvSpPr/>
          <p:nvPr/>
        </p:nvSpPr>
        <p:spPr>
          <a:xfrm>
            <a:off x="4333882" y="852266"/>
            <a:ext cx="5524168" cy="466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8EFCCC-30AF-494D-B61A-5BD2C0B4D77B}"/>
              </a:ext>
            </a:extLst>
          </p:cNvPr>
          <p:cNvSpPr/>
          <p:nvPr/>
        </p:nvSpPr>
        <p:spPr>
          <a:xfrm>
            <a:off x="4441568" y="137653"/>
            <a:ext cx="7445632" cy="658761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D4C4DD1-00EF-435A-9BB3-D537A4D9D6D5}"/>
              </a:ext>
            </a:extLst>
          </p:cNvPr>
          <p:cNvSpPr txBox="1"/>
          <p:nvPr/>
        </p:nvSpPr>
        <p:spPr>
          <a:xfrm>
            <a:off x="4735872" y="190320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I.	</a:t>
            </a: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ະຫວັດຄວາມເປັນມາ</a:t>
            </a:r>
            <a:endParaRPr lang="en-US" altLang="de-DE" sz="36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90AA03-3CF4-4713-B5BE-F9F299AD2635}"/>
              </a:ext>
            </a:extLst>
          </p:cNvPr>
          <p:cNvSpPr txBox="1"/>
          <p:nvPr/>
        </p:nvSpPr>
        <p:spPr>
          <a:xfrm>
            <a:off x="4441569" y="1031421"/>
            <a:ext cx="7219488" cy="4308872"/>
          </a:xfrm>
          <a:prstGeom prst="rect">
            <a:avLst/>
          </a:prstGeom>
          <a:solidFill>
            <a:srgbClr val="0A5F74"/>
          </a:solidFill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ຜູ້ສ້າງຕັ້ງຜູ້ທຳອິດແມ່ນ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Karl Friedrich Rapp 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ໃນຊື່ບໍລິສັດ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Rapp-Motorenwerke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ດືອນຕຸລາ ປີ ຄສ 1913 ເປັນຊ່ວງສົງຄາມທີ່ໄດ້ກຳໄລຈາກການສ້າງເຮືອບິນມາຈຳໜ່າຍແລະເກີດຜົນກະທົບ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16 ບໍລິສັດເກືອບຖືກຍຶດສາເຫດດ້ານການເງິນ, ດີຂຶ້ນຈາກຜົນການສັ່ງຊື້ດ້ານສົງຄາມຈາກຣັດເຊຍຈຶ່ງຊອກຫາຜູ້ຮ່ວມຫຸ້ນຫຼາຍທ່ານ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Fran Josef Popp, Camillo Castiglioni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ລິສັດຖືກເປີດໂຕເປັນທາງການໃນຊື່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(Bayerische Motoren Werke)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ວັນທີ7/3/1916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17 ໄດ້ປະດິດໂລໂກ້ຂຶ້ນ ສີຟ້າ ແລະ ສີຂາວ ຕາມທຸງຂອງບາວາເຣຍລັດທີ່ໃຫຍ່ທີ່ສຸດ ນະຄອນຫຼວງມິວນິກ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23 ສ້າງລົດຈັກຄັນທຳອິດເຂົ້າສູ່ຕະຫຼາດຈຳໜ່າຍມີຊື່ວ່າ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R32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ຍເປັນແບຣນໃຫຍ່ທີ່ເປັນທີ່ນິຍົມ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28 ສ້າງລົດໃຫຍ່ຄັນມຳອິດຊື່ວ່າ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3/15 PS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ຊ່ວງສົງຄາມໂລກ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I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ຖືກຖິ້ມລະເບີດລົງບໍລິສັດເຢຍລະມັນຈຶ່ງຖືກຫ້າມບໍ່ໃຫ້ຜະລິດລົດຍົນ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4146F1-0D42-45FE-ADFB-AD4D300888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4401" y="619433"/>
            <a:ext cx="4155638" cy="56191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62446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2780C32D-C18B-431E-98C4-3C354A763061}"/>
              </a:ext>
            </a:extLst>
          </p:cNvPr>
          <p:cNvSpPr/>
          <p:nvPr/>
        </p:nvSpPr>
        <p:spPr>
          <a:xfrm>
            <a:off x="4255825" y="852266"/>
            <a:ext cx="5524168" cy="466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52070A3-A08C-4C30-B856-913AE57735F3}"/>
              </a:ext>
            </a:extLst>
          </p:cNvPr>
          <p:cNvSpPr/>
          <p:nvPr/>
        </p:nvSpPr>
        <p:spPr>
          <a:xfrm>
            <a:off x="4363512" y="702130"/>
            <a:ext cx="6691086" cy="564968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A7C270-A80E-4969-8075-8BF40DB83DAF}"/>
              </a:ext>
            </a:extLst>
          </p:cNvPr>
          <p:cNvSpPr txBox="1"/>
          <p:nvPr/>
        </p:nvSpPr>
        <p:spPr>
          <a:xfrm>
            <a:off x="4608654" y="852266"/>
            <a:ext cx="6361580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II.	</a:t>
            </a: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ຸດປະສົງທີເລືອກທຸລະກິດ </a:t>
            </a:r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FFC1C53-BBA9-4B86-801B-194C3D71B1B5}"/>
              </a:ext>
            </a:extLst>
          </p:cNvPr>
          <p:cNvSpPr txBox="1"/>
          <p:nvPr/>
        </p:nvSpPr>
        <p:spPr>
          <a:xfrm>
            <a:off x="4608654" y="2314411"/>
            <a:ext cx="6173646" cy="9233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thaiDist">
              <a:buFont typeface="Wingdings" panose="05000000000000000000" pitchFamily="2" charset="2"/>
              <a:buChar char="§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ລິສັດມີຄວາມຕັ້ງໃຈທີ່ຈະສ້າງສິນຄ້າທີ່ອຳນວຍຄວາມສະດວກ ແລະ ມີຄວາມປອດໄພສູງ ເພື່ອໃຫ້ລູກຄ້າທີ່ມາໃຊ້ບໍລິການສາມາດໄວ້ວາງໃຈ ແລະ ເພີດເພີນກັບລົດທີ່ມີຄວາມທັນສະໄໝ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6E85166-FE9C-485C-A545-F4F41673CF51}"/>
              </a:ext>
            </a:extLst>
          </p:cNvPr>
          <p:cNvSpPr txBox="1"/>
          <p:nvPr/>
        </p:nvSpPr>
        <p:spPr>
          <a:xfrm>
            <a:off x="4608655" y="4340730"/>
            <a:ext cx="6173646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thaiDist">
              <a:buFont typeface="Wingdings" panose="05000000000000000000" pitchFamily="2" charset="2"/>
              <a:buChar char="§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ພື່ອສຶກສາຂໍ້ມູນໃນການເລີ່ມທຸລະກິດ ແລະ ຍຸດທະວິທີໃນການບໍລິຫານບໍລິສັດຂອງພວກເຂົາ ຖອດຖອນບົດຮຽນໃນການດຳເນີນທຸລະກິດເພື່ອເປັນແຮງບັນດານໃຈໃຫ້ແກ່ຜູ້ສຶກສາ ສາມາດພັດທະນາຄວາມຮູ້ຄວາມສາມາດ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12C45B-E0E5-4E90-BF26-67A5DFE83788}"/>
              </a:ext>
            </a:extLst>
          </p:cNvPr>
          <p:cNvSpPr/>
          <p:nvPr/>
        </p:nvSpPr>
        <p:spPr>
          <a:xfrm>
            <a:off x="4523355" y="1716478"/>
            <a:ext cx="293381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.</a:t>
            </a:r>
            <a:r>
              <a:rPr lang="lo-LA" altLang="de-DE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ຈຸດປະສົງທາງທຸລະກິດ</a:t>
            </a:r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96803B9-0FD8-4FB7-B363-E4AD4A4D4FC0}"/>
              </a:ext>
            </a:extLst>
          </p:cNvPr>
          <p:cNvSpPr/>
          <p:nvPr/>
        </p:nvSpPr>
        <p:spPr>
          <a:xfrm>
            <a:off x="4523355" y="3721901"/>
            <a:ext cx="30524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.ຈຸດປະສົງຂອງການສຶກສາ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C38453-FB45-4A73-8A04-76D51BF2D8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216" y="1586753"/>
            <a:ext cx="4040095" cy="303007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6304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2780C32D-C18B-431E-98C4-3C354A763061}"/>
              </a:ext>
            </a:extLst>
          </p:cNvPr>
          <p:cNvSpPr/>
          <p:nvPr/>
        </p:nvSpPr>
        <p:spPr>
          <a:xfrm>
            <a:off x="4255825" y="852266"/>
            <a:ext cx="5524168" cy="466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52070A3-A08C-4C30-B856-913AE57735F3}"/>
              </a:ext>
            </a:extLst>
          </p:cNvPr>
          <p:cNvSpPr/>
          <p:nvPr/>
        </p:nvSpPr>
        <p:spPr>
          <a:xfrm>
            <a:off x="4363512" y="226142"/>
            <a:ext cx="6691086" cy="65049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A7C270-A80E-4969-8075-8BF40DB83DAF}"/>
              </a:ext>
            </a:extLst>
          </p:cNvPr>
          <p:cNvSpPr txBox="1"/>
          <p:nvPr/>
        </p:nvSpPr>
        <p:spPr>
          <a:xfrm>
            <a:off x="4621155" y="383793"/>
            <a:ext cx="6361580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V.	</a:t>
            </a: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່ວນປະສົມຂອງການຕະຫຼາດ</a:t>
            </a:r>
            <a:endParaRPr lang="en-US" altLang="de-DE" sz="36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12C45B-E0E5-4E90-BF26-67A5DFE83788}"/>
              </a:ext>
            </a:extLst>
          </p:cNvPr>
          <p:cNvSpPr/>
          <p:nvPr/>
        </p:nvSpPr>
        <p:spPr>
          <a:xfrm>
            <a:off x="4621155" y="863531"/>
            <a:ext cx="19704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.</a:t>
            </a:r>
            <a:r>
              <a:rPr lang="lo-LA" altLang="de-DE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ຜະລິດຕະພັນ</a:t>
            </a:r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96803B9-0FD8-4FB7-B363-E4AD4A4D4FC0}"/>
              </a:ext>
            </a:extLst>
          </p:cNvPr>
          <p:cNvSpPr/>
          <p:nvPr/>
        </p:nvSpPr>
        <p:spPr>
          <a:xfrm>
            <a:off x="4621155" y="1576485"/>
            <a:ext cx="11256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. ລາຄາ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EA94C1D-5AEB-4E11-8779-3C3EB02BCACD}"/>
              </a:ext>
            </a:extLst>
          </p:cNvPr>
          <p:cNvSpPr/>
          <p:nvPr/>
        </p:nvSpPr>
        <p:spPr>
          <a:xfrm>
            <a:off x="4631042" y="2534918"/>
            <a:ext cx="31983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3. ຊ່ອງທາງການຈັດຈຳໜ່າຍ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7C4A67-7022-4A4F-BC16-59AD8602C040}"/>
              </a:ext>
            </a:extLst>
          </p:cNvPr>
          <p:cNvSpPr/>
          <p:nvPr/>
        </p:nvSpPr>
        <p:spPr>
          <a:xfrm>
            <a:off x="4672864" y="4254088"/>
            <a:ext cx="31133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4. ການສົ່ງເສີມການຕະຫຼາດ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CA784A-30CD-4393-A5DE-BEC191E8EC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220174" y="1089273"/>
            <a:ext cx="4663608" cy="27981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C2D937E-F618-403C-A661-62A8D1D81A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09123" y="2890242"/>
            <a:ext cx="4632478" cy="347435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DC20311-FA22-4E52-9358-9CAF5D01C37E}"/>
              </a:ext>
            </a:extLst>
          </p:cNvPr>
          <p:cNvSpPr/>
          <p:nvPr/>
        </p:nvSpPr>
        <p:spPr>
          <a:xfrm>
            <a:off x="1372485" y="3100734"/>
            <a:ext cx="14782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/>
              <a:t>BMW 3 series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90B6B1-FD81-4175-9D31-D878929CAA3F}"/>
              </a:ext>
            </a:extLst>
          </p:cNvPr>
          <p:cNvSpPr/>
          <p:nvPr/>
        </p:nvSpPr>
        <p:spPr>
          <a:xfrm>
            <a:off x="1663244" y="5503741"/>
            <a:ext cx="14975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BMW X Seri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5287D02-2A23-44B4-ADF3-0ECDF5668128}"/>
              </a:ext>
            </a:extLst>
          </p:cNvPr>
          <p:cNvSpPr/>
          <p:nvPr/>
        </p:nvSpPr>
        <p:spPr>
          <a:xfrm>
            <a:off x="4672864" y="2072860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ມ່ນແຕກຕ່າງກັນໄປຕາມ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ຊຸດອາໄຫລ່ລົ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ແລະ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ຮຸ່ນຂອງມັ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056A330-141E-4211-946F-6E4BFB2F1086}"/>
              </a:ext>
            </a:extLst>
          </p:cNvPr>
          <p:cNvSpPr/>
          <p:nvPr/>
        </p:nvSpPr>
        <p:spPr>
          <a:xfrm>
            <a:off x="4710963" y="2969738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lo-LA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ັດຈຸບັ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ດ້ກະຈາຍໂຮງງານຜະລິດໄປເຖິງ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10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ວ່າປະເທ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ແລະ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ຍຸດທະສາດການຕະຫຼາດແບບປະສົມປະສານຂອງ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BMW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ືການເຂົ້າຫາຕົວແທນຈໍາໜ່າຍຂອງບໍລິສັດໃນທົ່ວໂລກ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ລະ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ຕົວແທນຈໍາໜ່າຍລົດລະດັບພຣີມຽມອື່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ໆ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11910F-C584-449C-8404-B02458D4C078}"/>
              </a:ext>
            </a:extLst>
          </p:cNvPr>
          <p:cNvSpPr/>
          <p:nvPr/>
        </p:nvSpPr>
        <p:spPr>
          <a:xfrm>
            <a:off x="4620647" y="4699958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en-US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 </a:t>
            </a:r>
            <a:r>
              <a:rPr lang="lo-LA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ະເພດອອກຕາມໜັງສືພິມວາລະສາ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ລະໃບປິວຂອງທາງບໍລິສັ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endParaRPr lang="lo-LA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algn="thaiDist"/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 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ໂຄສະນາຜ່ານສື່ອອນໄລນ໌ເຊັ່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: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າງໂທລະສັບ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,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ໂທລະພາບ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endParaRPr lang="lo-LA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algn="thaiDist"/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ອີກຢ່າງ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BMW ຍັງມີຂໍ້ສະເໜີສໍາລັບລູກຄ້າທີ່ມີເງິນບໍ່ພຽງພໍສາມາດຜ່ອນຈ່າຍເປັນງວດໄດ້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C5CF2CB-8753-4054-989C-26F5BBDBCBE1}"/>
              </a:ext>
            </a:extLst>
          </p:cNvPr>
          <p:cNvSpPr/>
          <p:nvPr/>
        </p:nvSpPr>
        <p:spPr>
          <a:xfrm>
            <a:off x="4390580" y="1259160"/>
            <a:ext cx="29033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thaiDist"/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  ອ້າງອີງຕາມຮູບທີ1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ຮູບ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ີ2.</a:t>
            </a:r>
            <a:endParaRPr lang="en-US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80705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91406" y="1579423"/>
            <a:ext cx="2361224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)ປະຊາກອນສາ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91406" y="2191188"/>
            <a:ext cx="5616902" cy="153888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ລົດ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ຕອບໂຈດລູກຄ້າຫຼາຍກຸ່ມເພາະມີຫຼາກຫຼາຍຮູບແບບເໝາະກັບທຸກເພດທຸກໄວໃຫ້ລູກຄ້າທຸກຄົນໄດ້ເລືອກ, ປີ 2021 ໄດ້ເປີດລົດລຸ້ນໃໝ່ລ່າສຸດ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iX Flo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ັນສະໃໝ່ຮັບປະກັນຄວາມປອດໄພປ່ຽນສີໄດ້3ສີ ດຳ, ເທົາ, ຂາວຈາກການກົດປຸ່ມ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144747" y="377182"/>
            <a:ext cx="4352854" cy="3264641"/>
          </a:xfrm>
          <a:prstGeom prst="ellipse">
            <a:avLst/>
          </a:prstGeom>
          <a:ln w="22225">
            <a:noFill/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71C102C-BCBE-4345-8440-849CA7EAA95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48895"/>
          <a:stretch/>
        </p:blipFill>
        <p:spPr>
          <a:xfrm>
            <a:off x="6934286" y="4341556"/>
            <a:ext cx="2032164" cy="1635034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06950DDC-2EEE-4C41-BF18-6FABE1678492}"/>
              </a:ext>
            </a:extLst>
          </p:cNvPr>
          <p:cNvSpPr/>
          <p:nvPr/>
        </p:nvSpPr>
        <p:spPr>
          <a:xfrm>
            <a:off x="595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FEE6FD-AFC2-4F6B-A529-7DE1A6724299}"/>
              </a:ext>
            </a:extLst>
          </p:cNvPr>
          <p:cNvSpPr txBox="1"/>
          <p:nvPr/>
        </p:nvSpPr>
        <p:spPr>
          <a:xfrm>
            <a:off x="544687" y="990873"/>
            <a:ext cx="5214569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</a:t>
            </a:r>
            <a:r>
              <a:rPr lang="lo-LA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ສິ່ງແວດລ້ອມພາຍນນອກທຸລະກິດ</a:t>
            </a:r>
            <a:endParaRPr lang="de-DE" altLang="de-DE" sz="28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59A42B-B48B-49FD-9D45-1D0F23922C7F}"/>
              </a:ext>
            </a:extLst>
          </p:cNvPr>
          <p:cNvSpPr/>
          <p:nvPr/>
        </p:nvSpPr>
        <p:spPr>
          <a:xfrm>
            <a:off x="591406" y="3884419"/>
            <a:ext cx="19527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)ເສດຖະກິ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02821D8-A159-4CCE-A101-3F7C5BB3FDBB}"/>
              </a:ext>
            </a:extLst>
          </p:cNvPr>
          <p:cNvSpPr/>
          <p:nvPr/>
        </p:nvSpPr>
        <p:spPr>
          <a:xfrm>
            <a:off x="544687" y="4469748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ຜົນຢ່າງສູງຈາກສາເຫດເສດຖະກິດຕົກຕ່ຳບໍລິສັດຂາດທຶນ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02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້ານໂດຣາ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ຕ່ໜ້ອຍກວ່າທີ່ນັກວິເຄາະໄດ້ຄາດການໄວ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້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68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້ານໂດຣາ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ຊິ່ງ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ດ້ແກ້ໄຂໂດຍການຫຼຸດການຜະລິດລົດ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78000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ັ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,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ຸດເວລາເຮັດວຽກພະນັກງາ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26000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ົ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0B87F2-EDB1-4E72-9EC9-758909EA0D59}"/>
              </a:ext>
            </a:extLst>
          </p:cNvPr>
          <p:cNvSpPr/>
          <p:nvPr/>
        </p:nvSpPr>
        <p:spPr>
          <a:xfrm>
            <a:off x="148394" y="220878"/>
            <a:ext cx="749596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857250" indent="-857250">
              <a:buFont typeface="+mj-lt"/>
              <a:buAutoNum type="romanUcPeriod" startAt="5"/>
            </a:pPr>
            <a:r>
              <a:rPr lang="en-US" sz="36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ວິເຄາະສະພາບແວດລ້ອມ</a:t>
            </a:r>
            <a:r>
              <a:rPr lang="lo-LA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າງການຕະຫຼາດ</a:t>
            </a:r>
            <a:endParaRPr lang="en-US" sz="36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4E64AE4-36C0-4D69-B100-BE5160336993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8442936" y="2953734"/>
            <a:ext cx="3254841" cy="1992582"/>
          </a:xfrm>
          <a:prstGeom prst="ellipse">
            <a:avLst/>
          </a:prstGeom>
          <a:ln>
            <a:solidFill>
              <a:schemeClr val="bg2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835398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9461"/>
          <a:stretch/>
        </p:blipFill>
        <p:spPr>
          <a:xfrm>
            <a:off x="1283412" y="3636909"/>
            <a:ext cx="3917788" cy="2797492"/>
          </a:xfrm>
          <a:prstGeom prst="ellipse">
            <a:avLst/>
          </a:prstGeom>
          <a:ln w="22225">
            <a:noFill/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4C31449-A6DD-47DD-912E-64882D9E16C3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1296562" y="534544"/>
            <a:ext cx="3804546" cy="2894456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5C58B569-9D4A-4F4D-B6F6-728FC502B3CB}"/>
              </a:ext>
            </a:extLst>
          </p:cNvPr>
          <p:cNvSpPr/>
          <p:nvPr/>
        </p:nvSpPr>
        <p:spPr>
          <a:xfrm>
            <a:off x="5421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CDE689A-8141-44CF-BEA3-E8EAE8161AC6}"/>
              </a:ext>
            </a:extLst>
          </p:cNvPr>
          <p:cNvSpPr txBox="1"/>
          <p:nvPr/>
        </p:nvSpPr>
        <p:spPr>
          <a:xfrm>
            <a:off x="5513836" y="743469"/>
            <a:ext cx="3080972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3)ຮູບແບບການແຂ່ງຂັນ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4CCFD14-9E35-4DA9-9D26-1451B02936C6}"/>
              </a:ext>
            </a:extLst>
          </p:cNvPr>
          <p:cNvSpPr txBox="1"/>
          <p:nvPr/>
        </p:nvSpPr>
        <p:spPr>
          <a:xfrm>
            <a:off x="5544392" y="1354418"/>
            <a:ext cx="5987487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ເຖິງວ່າຈະມີຄູ່ແຂ່ງຫຼາຍແຕ່ບໍລິສັດ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ກໍຍັງຢູ່ອັນດັບ 1 ໃນຕະຫຼາດລົດຫຼູ ໃຊ້ກົນລະຍຸດໂດຍເລີ່ມຈາກສ້າງຄຸນນະພາບລົດໃຫ້ສົມກັບລາຄາ, ອອກແບບໃຫ້ເໝາະສົມກັບກຸ່ມເປົ້າໝາຍ ມີການສື່ສານກັບລູກຄ້າແບບທັນສະໄໝ, ມີບໍລິການການເງິນຕອບໂຈດລູກຄ້າ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B58D71-D7D3-4268-859D-27651AB8A90E}"/>
              </a:ext>
            </a:extLst>
          </p:cNvPr>
          <p:cNvSpPr/>
          <p:nvPr/>
        </p:nvSpPr>
        <p:spPr>
          <a:xfrm>
            <a:off x="5441540" y="2944434"/>
            <a:ext cx="32255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4</a:t>
            </a:r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)</a:t>
            </a:r>
            <a:r>
              <a:rPr lang="en-US" sz="24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ັງຄົມ</a:t>
            </a:r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ແລະ </a:t>
            </a:r>
            <a:r>
              <a:rPr lang="en-US" sz="24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ວັດທະນະທຳ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316E14-C47D-4C5D-ACCC-6C528C9FC6E6}"/>
              </a:ext>
            </a:extLst>
          </p:cNvPr>
          <p:cNvSpPr/>
          <p:nvPr/>
        </p:nvSpPr>
        <p:spPr>
          <a:xfrm>
            <a:off x="5343753" y="3549404"/>
            <a:ext cx="598748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thaiDist"/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ິດຈະກຳການຕະຫຼາດທາງບໍລິສັດແຕ່ລະປະເທດແຕກຕ່າງກັນ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ຊິ່ງເຮົາກໍຈະປັບປ່ຽນກິດຈະກຳ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,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ບໍລິກາ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,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ຮູບແບບການຂາຍໄປຕາມຄວາມມັກແລະແທດເໝາະກັບຖານລູກຄ້າແຕ່ລະປະເທ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86069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-27636" y="0"/>
            <a:ext cx="5298855" cy="6858000"/>
          </a:xfrm>
          <a:prstGeom prst="rect">
            <a:avLst/>
          </a:prstGeom>
          <a:solidFill>
            <a:srgbClr val="0A5F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395815" y="61774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46942" y="61774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096000" y="6191169"/>
            <a:ext cx="228600" cy="228600"/>
          </a:xfrm>
          <a:prstGeom prst="ellipse">
            <a:avLst/>
          </a:prstGeom>
          <a:solidFill>
            <a:srgbClr val="079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49196" y="61774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00322" y="61774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912787" y="142578"/>
            <a:ext cx="2959538" cy="2387133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A6C80493-CC48-49B0-810A-422E497551EF}"/>
              </a:ext>
            </a:extLst>
          </p:cNvPr>
          <p:cNvSpPr/>
          <p:nvPr/>
        </p:nvSpPr>
        <p:spPr>
          <a:xfrm>
            <a:off x="5421215" y="6503461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E189943-D6D4-4194-968A-9E17EAA2EEEA}"/>
              </a:ext>
            </a:extLst>
          </p:cNvPr>
          <p:cNvSpPr txBox="1"/>
          <p:nvPr/>
        </p:nvSpPr>
        <p:spPr>
          <a:xfrm>
            <a:off x="5500974" y="635604"/>
            <a:ext cx="3709349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algn="thaiDist"/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5)ການເມືອງ ແລະ ກົດໝາຍ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F34E3B-2A15-4BDE-8572-D12ACF1EEDB8}"/>
              </a:ext>
            </a:extLst>
          </p:cNvPr>
          <p:cNvSpPr txBox="1"/>
          <p:nvPr/>
        </p:nvSpPr>
        <p:spPr>
          <a:xfrm>
            <a:off x="5500974" y="1207927"/>
            <a:ext cx="6206490" cy="9233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ມີໃບທະບຽນຂໍອະນຸມັດດໍາເນີນທຸລະກິດ, ມີການເສຍພາສີອາກອນການນຳ ເຂົ້າ-ສົ່ງອອກ ຂອງສິນຄ້າໃນແຕ່ລະເດືອນ, ຮັບຜິດຊອບຕໍ່ພະນັກງານ-ລູກຈ້າງ ໂດຍການຈ່າຍເງິນເດືອນ ແລະ ເຄົາລົບສິດພື້ນຖານ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C395E4-8D81-4100-BF4E-D3799ED77DCC}"/>
              </a:ext>
            </a:extLst>
          </p:cNvPr>
          <p:cNvSpPr/>
          <p:nvPr/>
        </p:nvSpPr>
        <p:spPr>
          <a:xfrm>
            <a:off x="5424630" y="2160872"/>
            <a:ext cx="18309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6</a:t>
            </a:r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)</a:t>
            </a:r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4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ຕັກໂນໂລຢີ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B860289-1265-4A9E-86FF-7CB3C4549256}"/>
              </a:ext>
            </a:extLst>
          </p:cNvPr>
          <p:cNvSpPr/>
          <p:nvPr/>
        </p:nvSpPr>
        <p:spPr>
          <a:xfrm>
            <a:off x="5500974" y="2676113"/>
            <a:ext cx="620649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thaiDist"/>
            <a:r>
              <a:rPr lang="lo-LA" dirty="0"/>
              <a:t>  </a:t>
            </a:r>
            <a:r>
              <a:rPr lang="en-US" dirty="0"/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້າງປະສິດທິພາບສູງສຸດທີ່ອັດຕາການສິ້ນເປືອງພະລັງງານໜ້ອຍທີ່ສຸດ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ຶ່ງນຳເອົາເທັກໂນໂລຢີໃໝ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່ໆ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ປັນຈຳນວນຫຼາຍເຂົ້າມາໃຊ້ກັບຕົວຖັງລົດຄື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ະບົບຂັບເຄື່ອ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ປຈົນເຖິງລະບົບຊ່ວຍເຫຼືອຜູ້ຂັບຂີ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່,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ນຳໜັກເບົາ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ແລະ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່ເປືອງນ້ຳມັ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59A5B72-33F7-4930-A55C-7E0BCFF6E192}"/>
              </a:ext>
            </a:extLst>
          </p:cNvPr>
          <p:cNvSpPr/>
          <p:nvPr/>
        </p:nvSpPr>
        <p:spPr>
          <a:xfrm>
            <a:off x="5504940" y="3999386"/>
            <a:ext cx="35012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7. </a:t>
            </a:r>
            <a:r>
              <a:rPr lang="en-US" sz="24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ິ່ງແວດລ້ອມທາງທຳມະຊາດ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5B95E9-36C0-4BB7-9C33-EF756B6B134B}"/>
              </a:ext>
            </a:extLst>
          </p:cNvPr>
          <p:cNvSpPr/>
          <p:nvPr/>
        </p:nvSpPr>
        <p:spPr>
          <a:xfrm>
            <a:off x="5496288" y="4447887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ບັດເຕີຣີສຳລັບລົດໄຟຟ້າ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00%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Neue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Klasse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ຸດຕົ້ນທຶນ50%,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ຸດການປ່ອຍ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CO2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60%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າກແບບເກົ່າ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;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Vegen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Leather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ໜັງວີແກ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ຮັດຈາກເສັ້ນໃຍພືດຈາກຕົ້ນກະບອງເພັດຫຸ້ມພວງມາໄລຣີໄຊເຄິລໄ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້ 100%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ຊ່ວຍດູ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CO2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່ໄດ້ຜ່ານການຟອກ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່ເກີດນ້ຳເສຍໃນການບຳບັ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ຸດການປ່ອຍ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CO2 85%.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F2DF9587-B1BA-414D-B3B6-0EDBB5A2487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290540" y="2336800"/>
            <a:ext cx="2959538" cy="2160654"/>
          </a:xfrm>
          <a:prstGeom prst="ellipse">
            <a:avLst/>
          </a:prstGeom>
          <a:ln>
            <a:solidFill>
              <a:schemeClr val="bg2"/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C20FE0F-891B-4858-82FE-BA8DA93B7989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2009865" y="4304543"/>
            <a:ext cx="2886712" cy="2387133"/>
          </a:xfrm>
          <a:prstGeom prst="ellipse">
            <a:avLst/>
          </a:prstGeom>
          <a:ln>
            <a:solidFill>
              <a:schemeClr val="bg2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83904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-71120"/>
            <a:ext cx="4630057" cy="6858000"/>
          </a:xfrm>
          <a:prstGeom prst="rect">
            <a:avLst/>
          </a:prstGeom>
          <a:solidFill>
            <a:srgbClr val="0A5F74"/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627102" y="1472569"/>
            <a:ext cx="1917192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) ການຜະລິ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780333" y="2052368"/>
            <a:ext cx="6172200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ດ້ຜະລິດລົດຍົນຢູ່ຫລາຍປະເທດເຊັ່ນ: ເຢຍລະມັນ,ອອສເຕຍ,ສະຫະລັດອາເມຣິກາ,ເມັກຊິໂກ,ອາຟຣິກາໃຕ້,ອິນເດຍ,ຈີນ,ເບຣຊິນ.    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algn="thaiDist"/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ໃນປີ 2011 ລົດ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ະມານ56% ໃຊ້ນ້ຳມັນແອັດຊັງໃນການຂັບເຄື່ອນ ແລະ 44% ໃຊ້ນ້ຳມັນກາຊວນໃນການຂັບເຄື່ອນ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7036041" y="441308"/>
            <a:ext cx="4441372" cy="3044110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71C102C-BCBE-4345-8440-849CA7EAA95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859688" y="3687362"/>
            <a:ext cx="4476626" cy="304411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06950DDC-2EEE-4C41-BF18-6FABE1678492}"/>
              </a:ext>
            </a:extLst>
          </p:cNvPr>
          <p:cNvSpPr/>
          <p:nvPr/>
        </p:nvSpPr>
        <p:spPr>
          <a:xfrm>
            <a:off x="595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FEE6FD-AFC2-4F6B-A529-7DE1A6724299}"/>
              </a:ext>
            </a:extLst>
          </p:cNvPr>
          <p:cNvSpPr txBox="1"/>
          <p:nvPr/>
        </p:nvSpPr>
        <p:spPr>
          <a:xfrm>
            <a:off x="591406" y="803252"/>
            <a:ext cx="466634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.ສິ່ງແວດລ້ອມພາຍໃນທຸລະກິດ</a:t>
            </a:r>
            <a:endParaRPr lang="de-DE" altLang="de-DE" sz="28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1B520B-18CC-468F-B074-D0263F8FE231}"/>
              </a:ext>
            </a:extLst>
          </p:cNvPr>
          <p:cNvSpPr/>
          <p:nvPr/>
        </p:nvSpPr>
        <p:spPr>
          <a:xfrm>
            <a:off x="627102" y="3373918"/>
            <a:ext cx="332655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) ການເງິນ ແລະ ບັນຊີ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AECA265-5F22-4182-A264-CCD4A1585A06}"/>
              </a:ext>
            </a:extLst>
          </p:cNvPr>
          <p:cNvSpPr/>
          <p:nvPr/>
        </p:nvSpPr>
        <p:spPr>
          <a:xfrm>
            <a:off x="780333" y="3847362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ງົບປະມານໃນປິ2017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ລາຍໄດ້8.620 ຕື້ຢູໂຣ,ເຊິ່ງລາຍຮັບປະຈຳປີແມ່ນ 98.678 ຕື້ຢູໂຣ ອັດຕາການເພີ່ມຂຶ້ນ4.8% ທຽບກັບຮອງງົບປະມານທີ່ຜ່ານມາ , ເນື່ອງການບໍລິສັດມີລາຍຮັບມະຫາສານ ຈື່ງໄດ້ມີການຈັດລະບົບແລະບໍລິຫານເປັນຢ່າງດີເພື່ອບໍ່ໃຫ້ເກີດຄວາມຜິດພາດແລະເສຍຫາຍ.</a:t>
            </a:r>
            <a:endParaRPr lang="en-US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74479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Depth">
  <a:themeElements>
    <a:clrScheme name="Depth">
      <a:dk1>
        <a:sysClr val="windowText" lastClr="000000"/>
      </a:dk1>
      <a:lt1>
        <a:sysClr val="window" lastClr="FFFFFF"/>
      </a:lt1>
      <a:dk2>
        <a:srgbClr val="455F51"/>
      </a:dk2>
      <a:lt2>
        <a:srgbClr val="94D7E4"/>
      </a:lt2>
      <a:accent1>
        <a:srgbClr val="41AEBD"/>
      </a:accent1>
      <a:accent2>
        <a:srgbClr val="97E9D5"/>
      </a:accent2>
      <a:accent3>
        <a:srgbClr val="A2CF49"/>
      </a:accent3>
      <a:accent4>
        <a:srgbClr val="608F3D"/>
      </a:accent4>
      <a:accent5>
        <a:srgbClr val="F4DE3A"/>
      </a:accent5>
      <a:accent6>
        <a:srgbClr val="FCB11C"/>
      </a:accent6>
      <a:hlink>
        <a:srgbClr val="FBCA98"/>
      </a:hlink>
      <a:folHlink>
        <a:srgbClr val="D3B86D"/>
      </a:folHlink>
    </a:clrScheme>
    <a:fontScheme name="Depth">
      <a:maj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epth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pth" id="{7BEAFC2A-325C-49C4-AC08-2B765DA903F9}" vid="{1735E755-43E6-43AA-ABA2-C989ECC79AF5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pth</Template>
  <TotalTime>6168</TotalTime>
  <Words>1923</Words>
  <Application>Microsoft Office PowerPoint</Application>
  <PresentationFormat>Widescreen</PresentationFormat>
  <Paragraphs>124</Paragraphs>
  <Slides>1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Corbel</vt:lpstr>
      <vt:lpstr>Phetsarath OT</vt:lpstr>
      <vt:lpstr>Segoe UI Black</vt:lpstr>
      <vt:lpstr>Segoe UI Semibold</vt:lpstr>
      <vt:lpstr>Times New Roman</vt:lpstr>
      <vt:lpstr>Wingdings</vt:lpstr>
      <vt:lpstr>Depth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ach, Martyna</dc:creator>
  <cp:keywords/>
  <cp:lastModifiedBy>Phoumee Aiy</cp:lastModifiedBy>
  <cp:revision>142</cp:revision>
  <dcterms:created xsi:type="dcterms:W3CDTF">2018-05-09T07:34:30Z</dcterms:created>
  <dcterms:modified xsi:type="dcterms:W3CDTF">2023-06-12T18:0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